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4" r:id="rId1"/>
  </p:sldMasterIdLst>
  <p:notesMasterIdLst>
    <p:notesMasterId r:id="rId25"/>
  </p:notesMasterIdLst>
  <p:sldIdLst>
    <p:sldId id="256" r:id="rId2"/>
    <p:sldId id="293" r:id="rId3"/>
    <p:sldId id="295" r:id="rId4"/>
    <p:sldId id="269" r:id="rId5"/>
    <p:sldId id="279" r:id="rId6"/>
    <p:sldId id="277" r:id="rId7"/>
    <p:sldId id="289" r:id="rId8"/>
    <p:sldId id="278" r:id="rId9"/>
    <p:sldId id="271" r:id="rId10"/>
    <p:sldId id="274" r:id="rId11"/>
    <p:sldId id="272" r:id="rId12"/>
    <p:sldId id="285" r:id="rId13"/>
    <p:sldId id="281" r:id="rId14"/>
    <p:sldId id="280" r:id="rId15"/>
    <p:sldId id="282" r:id="rId16"/>
    <p:sldId id="292" r:id="rId17"/>
    <p:sldId id="291" r:id="rId18"/>
    <p:sldId id="275" r:id="rId19"/>
    <p:sldId id="290" r:id="rId20"/>
    <p:sldId id="276" r:id="rId21"/>
    <p:sldId id="296" r:id="rId22"/>
    <p:sldId id="286" r:id="rId23"/>
    <p:sldId id="287" r:id="rId24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90DF"/>
    <a:srgbClr val="69A2D1"/>
    <a:srgbClr val="1E876E"/>
    <a:srgbClr val="1E8795"/>
    <a:srgbClr val="56AE66"/>
    <a:srgbClr val="95C792"/>
    <a:srgbClr val="DDECD9"/>
    <a:srgbClr val="F99D1C"/>
    <a:srgbClr val="295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6291" autoAdjust="0"/>
  </p:normalViewPr>
  <p:slideViewPr>
    <p:cSldViewPr>
      <p:cViewPr>
        <p:scale>
          <a:sx n="120" d="100"/>
          <a:sy n="120" d="100"/>
        </p:scale>
        <p:origin x="-1374" y="19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5CFA28-6F47-4F98-947E-CA17F3B5A392}" type="datetimeFigureOut">
              <a:rPr lang="ru-RU" smtClean="0"/>
              <a:pPr/>
              <a:t>07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0C4CCE-5367-4D7A-9242-49C87954251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28879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14186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18485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660089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90899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73448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10599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60665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14186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91613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96773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 История с платьем послужила поводом для того, чтобы </a:t>
            </a:r>
            <a:r>
              <a:rPr lang="ru-RU" dirty="0" err="1"/>
              <a:t>нейробиолог</a:t>
            </a:r>
            <a:r>
              <a:rPr lang="ru-RU" dirty="0"/>
              <a:t> Паскаль </a:t>
            </a:r>
            <a:r>
              <a:rPr lang="ru-RU" dirty="0" err="1"/>
              <a:t>Уоллиш</a:t>
            </a:r>
            <a:r>
              <a:rPr lang="ru-RU" dirty="0"/>
              <a:t> (Нью-Йоркский университет) начал исследовать, почему люди по-разному видят цвет. Оказалось, что всё зависит от того, воспринимает ли смотрящий платье висящим в тени или при ярком освещении. Мозг сам оценивает освещенность, и цвет платья «меняется»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4153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Эффектом «</a:t>
            </a:r>
            <a:r>
              <a:rPr lang="ru-RU" dirty="0" err="1"/>
              <a:t>буба</a:t>
            </a:r>
            <a:r>
              <a:rPr lang="ru-RU" dirty="0"/>
              <a:t>-кики» названа связь звучания названия объекта и его формы, которую непроизвольно устанавливает мозг человека. Его открыл психолог Вольфганг Кёлер в 1929 году, проведя эксперимент со словами «</a:t>
            </a:r>
            <a:r>
              <a:rPr lang="ru-RU" dirty="0" err="1"/>
              <a:t>балуба</a:t>
            </a:r>
            <a:r>
              <a:rPr lang="ru-RU" dirty="0"/>
              <a:t>» и «</a:t>
            </a:r>
            <a:r>
              <a:rPr lang="ru-RU" dirty="0" err="1"/>
              <a:t>такете</a:t>
            </a:r>
            <a:r>
              <a:rPr lang="ru-RU" dirty="0"/>
              <a:t>», а в 2001 году неврологи </a:t>
            </a:r>
            <a:r>
              <a:rPr lang="ru-RU" dirty="0" err="1"/>
              <a:t>Вилейанур</a:t>
            </a:r>
            <a:r>
              <a:rPr lang="ru-RU" dirty="0"/>
              <a:t> </a:t>
            </a:r>
            <a:r>
              <a:rPr lang="ru-RU" dirty="0" err="1"/>
              <a:t>Римачандран</a:t>
            </a:r>
            <a:r>
              <a:rPr lang="ru-RU" dirty="0"/>
              <a:t> и Эдвард </a:t>
            </a:r>
            <a:r>
              <a:rPr lang="ru-RU" dirty="0" err="1"/>
              <a:t>Хаббард</a:t>
            </a:r>
            <a:r>
              <a:rPr lang="ru-RU" dirty="0"/>
              <a:t> провели опрос со словами «</a:t>
            </a:r>
            <a:r>
              <a:rPr lang="ru-RU" dirty="0" err="1"/>
              <a:t>буба</a:t>
            </a:r>
            <a:r>
              <a:rPr lang="ru-RU" dirty="0"/>
              <a:t>» и «кики», в результате которого подавляющее большинство респондентов назвали </a:t>
            </a:r>
            <a:r>
              <a:rPr lang="ru-RU" dirty="0" err="1"/>
              <a:t>бубой</a:t>
            </a:r>
            <a:r>
              <a:rPr lang="ru-RU" dirty="0"/>
              <a:t> фигуру, линии которой округлые, и кикой — остроугольную. Это пример синестезии, когда человеческий разум связывает звук с формой. 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375469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XIV веке в Японии начали создавать необычные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ады, где главными были не растения, а… камни.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экитэй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— «каменный сад» — так звучит это по-японски. Это очень красивые, а главное очень глубокие по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воему смыслу сооружения. Одним из самых известных садов камней является сад пятнадцати камней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храма </a:t>
            </a:r>
            <a:r>
              <a:rPr lang="ru-RU" sz="1200" kern="1200" baseline="0" dirty="0" err="1">
                <a:solidFill>
                  <a:schemeClr val="tx1"/>
                </a:solidFill>
                <a:latin typeface="+mn-lt"/>
                <a:ea typeface="+mn-ea"/>
                <a:cs typeface="+mn-cs"/>
              </a:rPr>
              <a:t>Рёандзи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Его особенность состоит в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том, что посетитель никогда не видит одновременно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се 15 камней: один из них всегда загорожен каким-нибудь другим камнем. Значит, если он не знает,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что в саду 15 камней, то как он ответит на вопрос:</a:t>
            </a:r>
            <a:r>
              <a:rPr lang="en-US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2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«Сколько камней в саду?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85549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5494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87096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jpe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8.xml"/><Relationship Id="rId7" Type="http://schemas.openxmlformats.org/officeDocument/2006/relationships/image" Target="../media/image3.jpe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3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0" name="Picture 12" descr="D:\VASILISA\37659\Presentation\jpeg\background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0"/>
            <a:ext cx="9159875" cy="6858001"/>
          </a:xfrm>
          <a:prstGeom prst="rect">
            <a:avLst/>
          </a:prstGeom>
          <a:noFill/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495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Слайд think-cell" r:id="rId6" imgW="360" imgH="360" progId="">
                  <p:embed/>
                </p:oleObj>
              </mc:Choice>
              <mc:Fallback>
                <p:oleObj name="Слайд think-cell" r:id="rId6" imgW="360" imgH="360" progId="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Circe"/>
              <a:ea typeface="+mj-ea"/>
              <a:cs typeface="+mj-cs"/>
              <a:sym typeface="Circe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3428999"/>
            <a:ext cx="7772400" cy="1470025"/>
          </a:xfrm>
        </p:spPr>
        <p:txBody>
          <a:bodyPr>
            <a:normAutofit/>
          </a:bodyPr>
          <a:lstStyle>
            <a:lvl1pPr>
              <a:defRPr lang="ru-RU" sz="2800" b="1" kern="1200" spc="300" dirty="0">
                <a:solidFill>
                  <a:schemeClr val="tx2"/>
                </a:solidFill>
                <a:latin typeface="Circe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708920"/>
            <a:ext cx="6400800" cy="360040"/>
          </a:xfrm>
        </p:spPr>
        <p:txBody>
          <a:bodyPr>
            <a:normAutofit/>
          </a:bodyPr>
          <a:lstStyle>
            <a:lvl1pPr marL="0" indent="0" algn="ctr">
              <a:buNone/>
              <a:defRPr lang="ru-RU" sz="1800" kern="1200" dirty="0">
                <a:solidFill>
                  <a:srgbClr val="0070C0"/>
                </a:solidFill>
                <a:latin typeface="Circe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04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5536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178894" y="1196750"/>
            <a:ext cx="6849490" cy="432050"/>
          </a:xfrm>
        </p:spPr>
        <p:txBody>
          <a:bodyPr>
            <a:normAutofit/>
          </a:bodyPr>
          <a:lstStyle>
            <a:lvl1pPr>
              <a:defRPr lang="ru-RU" sz="3200" b="1" kern="1200" baseline="30000" dirty="0">
                <a:solidFill>
                  <a:schemeClr val="tx2"/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3"/>
          </p:nvPr>
        </p:nvSpPr>
        <p:spPr>
          <a:xfrm>
            <a:off x="395536" y="2024844"/>
            <a:ext cx="8352928" cy="44371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pic>
        <p:nvPicPr>
          <p:cNvPr id="3086" name="Picture 14" descr="D:\VASILISA\37659\Presentation\jpeg\background_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63050" cy="1060451"/>
          </a:xfrm>
          <a:prstGeom prst="rect">
            <a:avLst/>
          </a:prstGeom>
          <a:noFill/>
        </p:spPr>
      </p:pic>
    </p:spTree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82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178894" y="1196750"/>
            <a:ext cx="6849490" cy="432050"/>
          </a:xfrm>
        </p:spPr>
        <p:txBody>
          <a:bodyPr>
            <a:normAutofit/>
          </a:bodyPr>
          <a:lstStyle>
            <a:lvl1pPr>
              <a:defRPr lang="ru-RU" sz="3200" b="1" kern="1200" baseline="30000" dirty="0">
                <a:solidFill>
                  <a:schemeClr val="tx2"/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1571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13"/>
          </p:nvPr>
        </p:nvSpPr>
        <p:spPr>
          <a:xfrm>
            <a:off x="1691680" y="2024844"/>
            <a:ext cx="6048672" cy="44371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Picture 14" descr="D:\VASILISA\37659\Presentation\jpeg\background_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63050" cy="1060451"/>
          </a:xfrm>
          <a:prstGeom prst="rect">
            <a:avLst/>
          </a:prstGeom>
          <a:noFill/>
        </p:spPr>
      </p:pic>
      <p:pic>
        <p:nvPicPr>
          <p:cNvPr id="4109" name="Picture 13" descr="D:\VASILISA\37659\Presentation\jpeg\foncnik_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2924944"/>
            <a:ext cx="1636712" cy="2457450"/>
          </a:xfrm>
          <a:prstGeom prst="rect">
            <a:avLst/>
          </a:prstGeom>
          <a:noFill/>
        </p:spPr>
      </p:pic>
      <p:pic>
        <p:nvPicPr>
          <p:cNvPr id="4110" name="Picture 14" descr="D:\VASILISA\37659\Presentation\jpeg\fonchik_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832725" y="2132856"/>
            <a:ext cx="1311275" cy="232568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72055312"/>
      </p:ext>
    </p:extLst>
  </p:cSld>
  <p:clrMapOvr>
    <a:masterClrMapping/>
  </p:clrMapOvr>
  <p:extLst>
    <p:ext uri="{DCECCB84-F9BA-43D5-87BE-67443E8EF086}">
      <p15:sldGuideLst xmlns=""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891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500" b="0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552" y="6204312"/>
            <a:ext cx="8352928" cy="432050"/>
          </a:xfrm>
        </p:spPr>
        <p:txBody>
          <a:bodyPr>
            <a:normAutofit/>
          </a:bodyPr>
          <a:lstStyle>
            <a:lvl1pPr marL="0" algn="ctr" defTabSz="914400" rtl="0" eaLnBrk="1" latinLnBrk="0" hangingPunct="1">
              <a:defRPr lang="ru-RU" sz="1500" b="0" kern="1200" dirty="0">
                <a:solidFill>
                  <a:srgbClr val="0070C0"/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 dirty="0"/>
              <a:t>Образец подписи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3"/>
          </p:nvPr>
        </p:nvSpPr>
        <p:spPr>
          <a:xfrm>
            <a:off x="539552" y="1916112"/>
            <a:ext cx="8352928" cy="4105176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irce"/>
              </a:defRPr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5536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Picture 14" descr="D:\VASILISA\37659\Presentation\jpeg\background_2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9163050" cy="106045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28929460"/>
      </p:ext>
    </p:extLst>
  </p:cSld>
  <p:clrMapOvr>
    <a:masterClrMapping/>
  </p:clrMapOvr>
  <p:extLst>
    <p:ext uri="{DCECCB84-F9BA-43D5-87BE-67443E8EF086}">
      <p15:sldGuideLst xmlns=""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8D547CB-400C-4C84-B15D-5FC3CEE01BF2}" type="datetimeFigureOut">
              <a:rPr lang="ru-RU" smtClean="0"/>
              <a:pPr/>
              <a:t>07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7D771504-154C-45A0-83BA-8CDCF208AE9B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47572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Слайд think-cell" r:id="rId10" imgW="360" imgH="360" progId="">
                  <p:embed/>
                </p:oleObj>
              </mc:Choice>
              <mc:Fallback>
                <p:oleObj name="Слайд think-cell" r:id="rId10" imgW="360" imgH="360" progId="">
                  <p:embed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rgbClr val="45A1D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rgbClr val="0070C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640" y="1196752"/>
            <a:ext cx="735516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2636912"/>
            <a:ext cx="8229600" cy="348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</p:sldLayoutIdLst>
  <p:txStyles>
    <p:titleStyle>
      <a:lvl1pPr algn="ctr" defTabSz="914400" rtl="0" eaLnBrk="1" latinLnBrk="0" hangingPunct="1">
        <a:spcBef>
          <a:spcPct val="0"/>
        </a:spcBef>
        <a:buNone/>
        <a:defRPr lang="ru-RU" sz="3200" b="1" kern="1200" baseline="30000" dirty="0">
          <a:solidFill>
            <a:srgbClr val="69676D"/>
          </a:solidFill>
          <a:latin typeface="Circe" pitchFamily="34" charset="-52"/>
          <a:ea typeface="+mn-ea"/>
          <a:cs typeface="+mn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69676D"/>
          </a:solidFill>
          <a:latin typeface="Circe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69676D"/>
          </a:solidFill>
          <a:latin typeface="Circe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9676D"/>
          </a:solidFill>
          <a:latin typeface="Circe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9676D"/>
          </a:solidFill>
          <a:latin typeface="Circe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69676D"/>
          </a:solidFill>
          <a:latin typeface="Circe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jpeg"/><Relationship Id="rId4" Type="http://schemas.openxmlformats.org/officeDocument/2006/relationships/image" Target="../media/image7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18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tif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tif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7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peg"/><Relationship Id="rId4" Type="http://schemas.openxmlformats.org/officeDocument/2006/relationships/image" Target="../media/image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688032" y="2564904"/>
            <a:ext cx="7772400" cy="2592288"/>
          </a:xfrm>
        </p:spPr>
        <p:txBody>
          <a:bodyPr>
            <a:noAutofit/>
          </a:bodyPr>
          <a:lstStyle/>
          <a:p>
            <a:pPr>
              <a:spcBef>
                <a:spcPts val="2400"/>
              </a:spcBef>
              <a:spcAft>
                <a:spcPts val="6000"/>
              </a:spcAft>
            </a:pPr>
            <a:r>
              <a:rPr lang="ru-RU" sz="2400" b="0" spc="0" dirty="0">
                <a:solidFill>
                  <a:srgbClr val="3190DF"/>
                </a:solidFill>
                <a:latin typeface="Fedra Sans Pro Book" pitchFamily="34" charset="0"/>
                <a:ea typeface="Fedra Sans Pro Book" pitchFamily="34" charset="0"/>
              </a:rPr>
              <a:t>ПРОГРАММА</a:t>
            </a:r>
            <a:r>
              <a:rPr lang="en-US" sz="4000" b="0" dirty="0"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en-US" sz="4000" b="0" dirty="0">
                <a:latin typeface="Fedra Sans Pro Book" pitchFamily="34" charset="0"/>
                <a:ea typeface="Fedra Sans Pro Book" pitchFamily="34" charset="0"/>
              </a:rPr>
            </a:br>
            <a:r>
              <a:rPr lang="en-US" sz="4000" dirty="0"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en-US" sz="4000" dirty="0">
                <a:latin typeface="Fedra Sans Pro Book" pitchFamily="34" charset="0"/>
                <a:ea typeface="Fedra Sans Pro Book" pitchFamily="34" charset="0"/>
              </a:rPr>
            </a:br>
            <a:r>
              <a:rPr lang="ru-RU" sz="4400" b="1" spc="300" dirty="0" smtClean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РАЗВИТИЕ </a:t>
            </a:r>
            <a: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ЛИЧНОСТНОГО</a:t>
            </a:r>
            <a:b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</a:br>
            <a: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ПОТЕНЦИАЛА </a:t>
            </a:r>
            <a:r>
              <a:rPr lang="ru-RU" sz="4400" b="1" spc="300" dirty="0" smtClean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ПОДРОСТКОВ</a:t>
            </a:r>
            <a:r>
              <a:rPr lang="ru-RU" sz="6000" b="1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ru-RU" sz="6000" b="1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</a:br>
            <a:endParaRPr lang="ru-RU" sz="4400" dirty="0">
              <a:solidFill>
                <a:schemeClr val="tx2"/>
              </a:solidFill>
              <a:latin typeface="Fedra Sans Pro Book" pitchFamily="34" charset="0"/>
              <a:ea typeface="Fedra Sans Pro Book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403648" y="4509120"/>
            <a:ext cx="6408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solidFill>
                  <a:srgbClr val="3190DF"/>
                </a:solidFill>
                <a:latin typeface="Fedra Serif A Pro Book" pitchFamily="18" charset="0"/>
                <a:ea typeface="Fedra Serif A Pro Book" pitchFamily="18" charset="0"/>
              </a:rPr>
              <a:t>Младшие подростки</a:t>
            </a:r>
            <a:endParaRPr lang="ru-RU" sz="2800" dirty="0">
              <a:solidFill>
                <a:srgbClr val="3190DF"/>
              </a:solidFill>
              <a:latin typeface="Fedra Serif A Pro Book" pitchFamily="18" charset="0"/>
              <a:ea typeface="Fedra Serif A Pro Book" pitchFamily="18" charset="0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 descr="plane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5013176"/>
            <a:ext cx="1865376" cy="990600"/>
          </a:xfrm>
          <a:prstGeom prst="rect">
            <a:avLst/>
          </a:prstGeom>
        </p:spPr>
      </p:pic>
      <p:pic>
        <p:nvPicPr>
          <p:cNvPr id="17" name="Рисунок 16" descr="pla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020272" y="3356992"/>
            <a:ext cx="1883664" cy="142951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9</a:t>
            </a:r>
          </a:p>
          <a:p>
            <a:endParaRPr lang="ru-RU" dirty="0"/>
          </a:p>
        </p:txBody>
      </p:sp>
      <p:sp>
        <p:nvSpPr>
          <p:cNvPr id="12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623956" y="1206904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Квадрат настроения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7784" y="2307333"/>
            <a:ext cx="4032448" cy="361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 descr="plane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2884582"/>
            <a:ext cx="2483768" cy="1318994"/>
          </a:xfrm>
          <a:prstGeom prst="rect">
            <a:avLst/>
          </a:prstGeom>
        </p:spPr>
      </p:pic>
      <p:pic>
        <p:nvPicPr>
          <p:cNvPr id="17" name="Рисунок 16" descr="pla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456432" y="1761585"/>
            <a:ext cx="2292032" cy="173942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10</a:t>
            </a:r>
          </a:p>
          <a:p>
            <a:endParaRPr lang="ru-RU" dirty="0"/>
          </a:p>
        </p:txBody>
      </p:sp>
      <p:pic>
        <p:nvPicPr>
          <p:cNvPr id="4098" name="Picture 2" descr="D:\VASILISA\37659\Presentation\jpeg\slide_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907704" y="2070834"/>
            <a:ext cx="5409716" cy="3950454"/>
          </a:xfrm>
          <a:prstGeom prst="rect">
            <a:avLst/>
          </a:prstGeom>
          <a:noFill/>
        </p:spPr>
      </p:pic>
      <p:sp>
        <p:nvSpPr>
          <p:cNvPr id="13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583489" y="1196752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Треугольник влияния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11</a:t>
            </a:r>
          </a:p>
          <a:p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987824" y="1844824"/>
            <a:ext cx="3240360" cy="4629086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6" name="Рисунок 15" descr="001__devochki_Sternenko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72211" y="2117216"/>
            <a:ext cx="2871335" cy="4105782"/>
          </a:xfrm>
          <a:prstGeom prst="rect">
            <a:avLst/>
          </a:prstGeom>
        </p:spPr>
      </p:pic>
      <p:pic>
        <p:nvPicPr>
          <p:cNvPr id="20" name="Рисунок 19" descr="fonchik_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21" name="Рисунок 20" descr="foncnik_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512" y="3645024"/>
            <a:ext cx="1636776" cy="2456688"/>
          </a:xfrm>
          <a:prstGeom prst="rect">
            <a:avLst/>
          </a:prstGeom>
        </p:spPr>
      </p:pic>
      <p:sp>
        <p:nvSpPr>
          <p:cNvPr id="10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623956" y="1196752"/>
            <a:ext cx="6476436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Дождь. Хорошо это или плохо?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slide_6.tif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411760" y="1340768"/>
            <a:ext cx="4652986" cy="511256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2</a:t>
            </a:r>
          </a:p>
          <a:p>
            <a:endParaRPr lang="ru-RU" dirty="0"/>
          </a:p>
        </p:txBody>
      </p:sp>
      <p:pic>
        <p:nvPicPr>
          <p:cNvPr id="12" name="Рисунок 11" descr="fonchik_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4" name="Рисунок 13" descr="foncnik_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9512" y="3645024"/>
            <a:ext cx="1636776" cy="2456688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411760" y="1340768"/>
            <a:ext cx="4652986" cy="5112568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3</a:t>
            </a:r>
          </a:p>
          <a:p>
            <a:endParaRPr lang="ru-RU" dirty="0"/>
          </a:p>
        </p:txBody>
      </p:sp>
      <p:pic>
        <p:nvPicPr>
          <p:cNvPr id="12" name="Рисунок 11" descr="fonchik_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4" name="Рисунок 13" descr="foncnik_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3645024"/>
            <a:ext cx="1636776" cy="2456688"/>
          </a:xfrm>
          <a:prstGeom prst="rect">
            <a:avLst/>
          </a:prstGeom>
        </p:spPr>
      </p:pic>
      <p:pic>
        <p:nvPicPr>
          <p:cNvPr id="9" name="Рисунок 8" descr="slide_5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699792" y="1415429"/>
            <a:ext cx="4176463" cy="5077701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771800" y="1484784"/>
            <a:ext cx="4032448" cy="4896544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4</a:t>
            </a:r>
          </a:p>
          <a:p>
            <a:endParaRPr lang="ru-RU" dirty="0"/>
          </a:p>
        </p:txBody>
      </p:sp>
      <p:pic>
        <p:nvPicPr>
          <p:cNvPr id="12" name="Рисунок 11" descr="fonchik_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4" name="Рисунок 13" descr="foncnik_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79512" y="3645024"/>
            <a:ext cx="1636776" cy="2456688"/>
          </a:xfrm>
          <a:prstGeom prst="rect">
            <a:avLst/>
          </a:prstGeom>
        </p:spPr>
      </p:pic>
      <p:pic>
        <p:nvPicPr>
          <p:cNvPr id="9" name="Рисунок 8" descr="slide_7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771800" y="1316900"/>
            <a:ext cx="4032448" cy="5142504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2771800" y="1340768"/>
            <a:ext cx="4032448" cy="5118636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5</a:t>
            </a:r>
          </a:p>
          <a:p>
            <a:endParaRPr lang="ru-RU" dirty="0"/>
          </a:p>
        </p:txBody>
      </p:sp>
      <p:pic>
        <p:nvPicPr>
          <p:cNvPr id="18" name="Рисунок 17">
            <a:extLst>
              <a:ext uri="{FF2B5EF4-FFF2-40B4-BE49-F238E27FC236}">
                <a16:creationId xmlns="" xmlns:a16="http://schemas.microsoft.com/office/drawing/2014/main" id="{AD0481EB-DC28-1849-9D96-E837DE04AC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113" y="1363954"/>
            <a:ext cx="6393773" cy="4889356"/>
          </a:xfrm>
          <a:prstGeom prst="rect">
            <a:avLst/>
          </a:prstGeom>
        </p:spPr>
      </p:pic>
      <p:pic>
        <p:nvPicPr>
          <p:cNvPr id="12" name="Рисунок 11" descr="fonchik_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4" name="Рисунок 13" descr="foncnik_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980424"/>
            <a:ext cx="1636776" cy="2456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90029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>
            <a:extLst>
              <a:ext uri="{FF2B5EF4-FFF2-40B4-BE49-F238E27FC236}">
                <a16:creationId xmlns="" xmlns:a16="http://schemas.microsoft.com/office/drawing/2014/main" id="{603739AE-F7AF-684C-978E-F3977D6AAEB4}"/>
              </a:ext>
            </a:extLst>
          </p:cNvPr>
          <p:cNvSpPr txBox="1">
            <a:spLocks/>
          </p:cNvSpPr>
          <p:nvPr/>
        </p:nvSpPr>
        <p:spPr>
          <a:xfrm>
            <a:off x="1115616" y="1124744"/>
            <a:ext cx="7776864" cy="7200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indent="0" algn="ctr">
              <a:spcBef>
                <a:spcPts val="0"/>
              </a:spcBef>
              <a:buFont typeface="Arial" pitchFamily="34" charset="0"/>
              <a:buNone/>
              <a:defRPr sz="3200" baseline="3000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rgbClr val="69676D"/>
                </a:solidFill>
                <a:latin typeface="Circe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69676D"/>
                </a:solidFill>
                <a:latin typeface="Circe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9676D"/>
                </a:solidFill>
                <a:latin typeface="Circe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9676D"/>
                </a:solidFill>
                <a:latin typeface="Circe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sz="2800" baseline="0" dirty="0">
                <a:solidFill>
                  <a:schemeClr val="tx1"/>
                </a:solidFill>
                <a:sym typeface="Calibri"/>
              </a:rPr>
              <a:t>Четыре шага ненасильственного </a:t>
            </a:r>
            <a:r>
              <a:rPr lang="ru-RU" sz="2800" baseline="0" dirty="0" smtClean="0">
                <a:solidFill>
                  <a:schemeClr val="tx1"/>
                </a:solidFill>
                <a:sym typeface="Calibri"/>
              </a:rPr>
              <a:t>общения</a:t>
            </a:r>
            <a:endParaRPr lang="ru-RU" sz="2800" baseline="0" dirty="0">
              <a:solidFill>
                <a:schemeClr val="tx1"/>
              </a:solidFill>
              <a:sym typeface="Calibri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6</a:t>
            </a:r>
          </a:p>
          <a:p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844C8299-F0E4-B74E-B16D-255EB99762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76" y="1772816"/>
            <a:ext cx="1230819" cy="4752528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3ED28DAC-6165-EA41-8C15-A054511A84E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303"/>
          <a:stretch/>
        </p:blipFill>
        <p:spPr>
          <a:xfrm>
            <a:off x="2857748" y="1916832"/>
            <a:ext cx="5012476" cy="45555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5279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7</a:t>
            </a:r>
          </a:p>
          <a:p>
            <a:endParaRPr lang="ru-RU" dirty="0"/>
          </a:p>
        </p:txBody>
      </p:sp>
      <p:pic>
        <p:nvPicPr>
          <p:cNvPr id="14" name="Рисунок 13" descr="slide_8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87624" y="1412776"/>
            <a:ext cx="7344275" cy="5112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8</a:t>
            </a:r>
          </a:p>
          <a:p>
            <a:endParaRPr lang="ru-RU" dirty="0"/>
          </a:p>
        </p:txBody>
      </p:sp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C3EC91E2-F7D0-A943-9E96-8766122866D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760" y="1628800"/>
            <a:ext cx="5105400" cy="4216400"/>
          </a:xfrm>
          <a:prstGeom prst="rect">
            <a:avLst/>
          </a:prstGeom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endParaRPr lang="ru-RU" sz="3200" b="1" baseline="30000" dirty="0">
              <a:solidFill>
                <a:schemeClr val="bg1"/>
              </a:solidFill>
              <a:latin typeface="Circe" pitchFamily="34" charset="-52"/>
            </a:endParaRPr>
          </a:p>
          <a:p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2195736" y="3038559"/>
            <a:ext cx="500455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rgbClr val="3190DF"/>
                </a:solidFill>
                <a:latin typeface="Segoe Print" panose="02000600000000000000" pitchFamily="2" charset="0"/>
              </a:rPr>
              <a:t>Как мы хотим себя чувствовать?</a:t>
            </a:r>
          </a:p>
          <a:p>
            <a:pPr algn="ctr">
              <a:lnSpc>
                <a:spcPct val="150000"/>
              </a:lnSpc>
            </a:pPr>
            <a:endParaRPr lang="ru-RU" sz="2800" dirty="0">
              <a:solidFill>
                <a:srgbClr val="3190DF"/>
              </a:solidFill>
              <a:latin typeface="Segoe Print" panose="02000600000000000000" pitchFamily="2" charset="0"/>
            </a:endParaRPr>
          </a:p>
        </p:txBody>
      </p:sp>
      <p:sp>
        <p:nvSpPr>
          <p:cNvPr id="16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365093" y="1196752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Наше соглашение</a:t>
            </a:r>
          </a:p>
        </p:txBody>
      </p:sp>
      <p:pic>
        <p:nvPicPr>
          <p:cNvPr id="5" name="Рисунок 4" descr="plane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4774302"/>
            <a:ext cx="2483768" cy="1318994"/>
          </a:xfrm>
          <a:prstGeom prst="rect">
            <a:avLst/>
          </a:prstGeom>
        </p:spPr>
      </p:pic>
      <p:pic>
        <p:nvPicPr>
          <p:cNvPr id="6" name="Рисунок 5" descr="pla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16472" y="1556792"/>
            <a:ext cx="2292032" cy="173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44776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D:\VASILISA\37659\Presentation\jpeg\slide_1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09448" y="2060848"/>
            <a:ext cx="6412948" cy="4176464"/>
          </a:xfrm>
          <a:prstGeom prst="rect">
            <a:avLst/>
          </a:prstGeom>
          <a:noFill/>
        </p:spPr>
      </p:pic>
      <p:sp>
        <p:nvSpPr>
          <p:cNvPr id="8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623956" y="1196752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Путь к мечте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baseline="30000" dirty="0">
                <a:solidFill>
                  <a:schemeClr val="bg1"/>
                </a:solidFill>
                <a:latin typeface="Circe" pitchFamily="34" charset="-52"/>
              </a:rPr>
              <a:t>1</a:t>
            </a:r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9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ru-RU" sz="5400" dirty="0">
                <a:solidFill>
                  <a:schemeClr val="tx2">
                    <a:lumMod val="75000"/>
                  </a:schemeClr>
                </a:solidFill>
                <a:latin typeface="Fedra Sans Pro Book" pitchFamily="34" charset="0"/>
                <a:ea typeface="Fedra Sans Pro Book" pitchFamily="34" charset="0"/>
              </a:rPr>
              <a:t>Встреча с родителями </a:t>
            </a:r>
          </a:p>
        </p:txBody>
      </p:sp>
    </p:spTree>
    <p:extLst>
      <p:ext uri="{BB962C8B-B14F-4D97-AF65-F5344CB8AC3E}">
        <p14:creationId xmlns:p14="http://schemas.microsoft.com/office/powerpoint/2010/main" val="25437024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20</a:t>
            </a:r>
          </a:p>
          <a:p>
            <a:endParaRPr lang="ru-RU" dirty="0"/>
          </a:p>
        </p:txBody>
      </p:sp>
      <p:pic>
        <p:nvPicPr>
          <p:cNvPr id="12" name="Рисунок 11" descr="ship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259632" y="5805264"/>
            <a:ext cx="2801112" cy="569976"/>
          </a:xfrm>
          <a:prstGeom prst="rect">
            <a:avLst/>
          </a:prstGeom>
        </p:spPr>
      </p:pic>
      <p:sp>
        <p:nvSpPr>
          <p:cNvPr id="13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341640" y="1196752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Базовые механизмы </a:t>
            </a:r>
            <a:r>
              <a:rPr lang="ru-RU" dirty="0" err="1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самодетерминации</a:t>
            </a:r>
            <a:endParaRPr lang="ru-RU" dirty="0">
              <a:solidFill>
                <a:schemeClr val="tx1"/>
              </a:solidFill>
              <a:latin typeface="Fedra Sans Pro Book" pitchFamily="34" charset="0"/>
              <a:ea typeface="Fedra Sans Pro Book" pitchFamily="34" charset="0"/>
            </a:endParaRPr>
          </a:p>
        </p:txBody>
      </p:sp>
      <p:pic>
        <p:nvPicPr>
          <p:cNvPr id="14" name="Рисунок 13" descr="slide_16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475656" y="3140968"/>
            <a:ext cx="6721507" cy="2736304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1187624" y="2636912"/>
            <a:ext cx="7272808" cy="2592288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21</a:t>
            </a:r>
          </a:p>
          <a:p>
            <a:endParaRPr lang="ru-RU" dirty="0"/>
          </a:p>
        </p:txBody>
      </p:sp>
      <p:sp>
        <p:nvSpPr>
          <p:cNvPr id="10" name="Содержимое 11"/>
          <p:cNvSpPr>
            <a:spLocks noGrp="1"/>
          </p:cNvSpPr>
          <p:nvPr>
            <p:ph type="body" sz="quarter" idx="13"/>
          </p:nvPr>
        </p:nvSpPr>
        <p:spPr>
          <a:xfrm>
            <a:off x="1341640" y="1196752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Условия оптимального 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развития ребёнка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BA69BE46-E7AE-1146-879E-D1D3083AA9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000" y="2420888"/>
            <a:ext cx="7550000" cy="352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2</a:t>
            </a:r>
          </a:p>
          <a:p>
            <a:endParaRPr lang="ru-RU" dirty="0"/>
          </a:p>
        </p:txBody>
      </p:sp>
      <p:pic>
        <p:nvPicPr>
          <p:cNvPr id="5" name="Рисунок 4" descr="plane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4774302"/>
            <a:ext cx="2483768" cy="1318994"/>
          </a:xfrm>
          <a:prstGeom prst="rect">
            <a:avLst/>
          </a:prstGeom>
        </p:spPr>
      </p:pic>
      <p:pic>
        <p:nvPicPr>
          <p:cNvPr id="6" name="Рисунок 5" descr="plane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816472" y="1556792"/>
            <a:ext cx="2292032" cy="1739423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646040" y="3140968"/>
            <a:ext cx="394218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rgbClr val="3190DF"/>
                </a:solidFill>
                <a:latin typeface="Segoe Print" panose="02000600000000000000" pitchFamily="2" charset="0"/>
              </a:rPr>
              <a:t>Что мы </a:t>
            </a:r>
            <a:r>
              <a:rPr lang="ru-RU" sz="2800" dirty="0">
                <a:solidFill>
                  <a:srgbClr val="3190DF"/>
                </a:solidFill>
                <a:latin typeface="Segoe Print" panose="02000600000000000000" pitchFamily="2" charset="0"/>
              </a:rPr>
              <a:t>готовы для этого сделать</a:t>
            </a:r>
            <a:r>
              <a:rPr lang="ru-RU" sz="2800" dirty="0">
                <a:solidFill>
                  <a:srgbClr val="3190DF"/>
                </a:solidFill>
                <a:latin typeface="Segoe Print" panose="02000600000000000000" pitchFamily="2" charset="0"/>
              </a:rPr>
              <a:t>?</a:t>
            </a:r>
          </a:p>
        </p:txBody>
      </p:sp>
      <p:sp>
        <p:nvSpPr>
          <p:cNvPr id="10" name="Содержимое 11">
            <a:extLst>
              <a:ext uri="{FF2B5EF4-FFF2-40B4-BE49-F238E27FC236}">
                <a16:creationId xmlns="" xmlns:a16="http://schemas.microsoft.com/office/drawing/2014/main" id="{1E1498AA-03AD-DE40-A251-0FD05A1E0F2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5093" y="1196752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dirty="0">
                <a:solidFill>
                  <a:schemeClr val="tx1"/>
                </a:solidFill>
                <a:latin typeface="Fedra Sans Pro Book" pitchFamily="34" charset="0"/>
                <a:ea typeface="Fedra Sans Pro Book" pitchFamily="34" charset="0"/>
              </a:rPr>
              <a:t>Наше соглашение</a:t>
            </a:r>
          </a:p>
        </p:txBody>
      </p:sp>
    </p:spTree>
    <p:extLst>
      <p:ext uri="{BB962C8B-B14F-4D97-AF65-F5344CB8AC3E}">
        <p14:creationId xmlns:p14="http://schemas.microsoft.com/office/powerpoint/2010/main" val="40182756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slide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059832" y="2277161"/>
            <a:ext cx="3024335" cy="4235285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3059831" y="2277159"/>
            <a:ext cx="3024336" cy="4235285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3</a:t>
            </a:r>
          </a:p>
          <a:p>
            <a:endParaRPr lang="ru-RU" dirty="0"/>
          </a:p>
        </p:txBody>
      </p:sp>
      <p:pic>
        <p:nvPicPr>
          <p:cNvPr id="10" name="Рисунок 9" descr="fonchik_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2" name="Рисунок 11" descr="foncnik_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512" y="3645024"/>
            <a:ext cx="1636776" cy="2456688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1475656" y="1190053"/>
            <a:ext cx="5832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latin typeface="Fedra Sans Pro Book" pitchFamily="34" charset="0"/>
                <a:ea typeface="Fedra Sans Pro Book" pitchFamily="34" charset="0"/>
              </a:rPr>
              <a:t>Что вы здесь видите?</a:t>
            </a: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 descr="slide_2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55776" y="2116215"/>
            <a:ext cx="4248472" cy="4409129"/>
          </a:xfrm>
          <a:prstGeom prst="rect">
            <a:avLst/>
          </a:prstGeom>
          <a:noFill/>
        </p:spPr>
      </p:pic>
      <p:sp>
        <p:nvSpPr>
          <p:cNvPr id="18" name="Прямоугольник 17"/>
          <p:cNvSpPr/>
          <p:nvPr/>
        </p:nvSpPr>
        <p:spPr>
          <a:xfrm>
            <a:off x="2555776" y="2116214"/>
            <a:ext cx="4248472" cy="4409129"/>
          </a:xfrm>
          <a:prstGeom prst="rect">
            <a:avLst/>
          </a:prstGeom>
          <a:noFill/>
          <a:ln w="50800">
            <a:solidFill>
              <a:srgbClr val="69A2D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683568" y="1363221"/>
            <a:ext cx="648072" cy="4206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4</a:t>
            </a:r>
          </a:p>
        </p:txBody>
      </p:sp>
      <p:pic>
        <p:nvPicPr>
          <p:cNvPr id="12" name="Рисунок 11" descr="fonchik_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668344" y="1700808"/>
            <a:ext cx="1310640" cy="2325624"/>
          </a:xfrm>
          <a:prstGeom prst="rect">
            <a:avLst/>
          </a:prstGeom>
        </p:spPr>
      </p:pic>
      <p:pic>
        <p:nvPicPr>
          <p:cNvPr id="14" name="Рисунок 13" descr="foncnik_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9512" y="3573016"/>
            <a:ext cx="1636776" cy="2456688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475656" y="1190053"/>
            <a:ext cx="5832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latin typeface="Fedra Sans Pro Book" pitchFamily="34" charset="0"/>
                <a:ea typeface="Fedra Sans Pro Book" pitchFamily="34" charset="0"/>
              </a:rPr>
              <a:t>Что вы здесь видите?</a:t>
            </a: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3203848" y="2246081"/>
            <a:ext cx="2772000" cy="4104456"/>
          </a:xfrm>
          <a:prstGeom prst="rect">
            <a:avLst/>
          </a:prstGeom>
          <a:solidFill>
            <a:srgbClr val="69A2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5</a:t>
            </a:r>
          </a:p>
          <a:p>
            <a:endParaRPr lang="ru-RU" dirty="0"/>
          </a:p>
        </p:txBody>
      </p:sp>
      <p:pic>
        <p:nvPicPr>
          <p:cNvPr id="9" name="Рисунок 8" descr="slide_3.jpg"/>
          <p:cNvPicPr>
            <a:picLocks noChangeAspect="1"/>
          </p:cNvPicPr>
          <p:nvPr/>
        </p:nvPicPr>
        <p:blipFill rotWithShape="1">
          <a:blip r:embed="rId3" cstate="print"/>
          <a:srcRect l="1357" r="-1357"/>
          <a:stretch/>
        </p:blipFill>
        <p:spPr>
          <a:xfrm>
            <a:off x="3276000" y="2307801"/>
            <a:ext cx="2664296" cy="398101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475656" y="1196752"/>
            <a:ext cx="5832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latin typeface="Fedra Sans Pro Book" pitchFamily="34" charset="0"/>
                <a:ea typeface="Fedra Sans Pro Book" pitchFamily="34" charset="0"/>
              </a:rPr>
              <a:t>Какого цвета платье?</a:t>
            </a: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6</a:t>
            </a:r>
          </a:p>
          <a:p>
            <a:endParaRPr lang="ru-RU" dirty="0"/>
          </a:p>
        </p:txBody>
      </p:sp>
      <p:pic>
        <p:nvPicPr>
          <p:cNvPr id="2050" name="Picture 2" descr="D:\VASILISA\37659\Presentation\jpeg\slide_4.jpg"/>
          <p:cNvPicPr>
            <a:picLocks noChangeAspect="1" noChangeArrowheads="1"/>
          </p:cNvPicPr>
          <p:nvPr/>
        </p:nvPicPr>
        <p:blipFill rotWithShape="1">
          <a:blip r:embed="rId3" cstate="print"/>
          <a:srcRect r="56052" b="34306"/>
          <a:stretch/>
        </p:blipFill>
        <p:spPr bwMode="auto">
          <a:xfrm>
            <a:off x="1475656" y="3140968"/>
            <a:ext cx="2278525" cy="2612835"/>
          </a:xfrm>
          <a:prstGeom prst="rect">
            <a:avLst/>
          </a:prstGeom>
          <a:noFill/>
        </p:spPr>
      </p:pic>
      <p:pic>
        <p:nvPicPr>
          <p:cNvPr id="7" name="Picture 2" descr="D:\VASILISA\37659\Presentation\jpeg\slide_4.jpg"/>
          <p:cNvPicPr>
            <a:picLocks noChangeAspect="1" noChangeArrowheads="1"/>
          </p:cNvPicPr>
          <p:nvPr/>
        </p:nvPicPr>
        <p:blipFill rotWithShape="1">
          <a:blip r:embed="rId3" cstate="print"/>
          <a:srcRect l="41335" t="33337"/>
          <a:stretch/>
        </p:blipFill>
        <p:spPr bwMode="auto">
          <a:xfrm>
            <a:off x="5004048" y="2912781"/>
            <a:ext cx="3041518" cy="2651350"/>
          </a:xfrm>
          <a:prstGeom prst="rect">
            <a:avLst/>
          </a:prstGeom>
          <a:noFill/>
        </p:spPr>
      </p:pic>
      <p:sp>
        <p:nvSpPr>
          <p:cNvPr id="8" name="TextBox 7"/>
          <p:cNvSpPr txBox="1"/>
          <p:nvPr/>
        </p:nvSpPr>
        <p:spPr>
          <a:xfrm>
            <a:off x="1475656" y="1196752"/>
            <a:ext cx="5832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 err="1"/>
              <a:t>Буба</a:t>
            </a:r>
            <a:r>
              <a:rPr lang="ru-RU" sz="3200" dirty="0"/>
              <a:t> или кики?</a:t>
            </a:r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611560" y="1772816"/>
            <a:ext cx="7992888" cy="4536504"/>
          </a:xfrm>
          <a:prstGeom prst="rect">
            <a:avLst/>
          </a:prstGeom>
          <a:solidFill>
            <a:srgbClr val="69A2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13" name="TextBox 12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7</a:t>
            </a:r>
          </a:p>
          <a:p>
            <a:endParaRPr lang="ru-RU" dirty="0"/>
          </a:p>
        </p:txBody>
      </p:sp>
      <p:sp>
        <p:nvSpPr>
          <p:cNvPr id="2" name="TextBox 1"/>
          <p:cNvSpPr txBox="1"/>
          <p:nvPr/>
        </p:nvSpPr>
        <p:spPr>
          <a:xfrm>
            <a:off x="1763688" y="1052736"/>
            <a:ext cx="583264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dirty="0">
                <a:latin typeface="Fedra Sans Pro Book" pitchFamily="34" charset="0"/>
                <a:ea typeface="Fedra Sans Pro Book" pitchFamily="34" charset="0"/>
              </a:rPr>
              <a:t>Японский сад камней</a:t>
            </a:r>
          </a:p>
        </p:txBody>
      </p:sp>
      <p:pic>
        <p:nvPicPr>
          <p:cNvPr id="6" name="Рисунок 5" descr="Depositphotos_42451477_xl-2015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3568" y="1844824"/>
            <a:ext cx="7848872" cy="441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683568" y="1363221"/>
            <a:ext cx="648072" cy="6976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baseline="30000" dirty="0">
                <a:solidFill>
                  <a:schemeClr val="bg1"/>
                </a:solidFill>
                <a:latin typeface="Circe" pitchFamily="34" charset="-52"/>
              </a:rPr>
              <a:t>8</a:t>
            </a:r>
          </a:p>
          <a:p>
            <a:endParaRPr lang="ru-RU" dirty="0"/>
          </a:p>
        </p:txBody>
      </p:sp>
      <p:pic>
        <p:nvPicPr>
          <p:cNvPr id="14" name="Рисунок 13" descr="evtushenko_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625247" y="1628799"/>
            <a:ext cx="4293464" cy="4298713"/>
          </a:xfrm>
          <a:prstGeom prst="rect">
            <a:avLst/>
          </a:prstGeom>
        </p:spPr>
      </p:pic>
      <p:pic>
        <p:nvPicPr>
          <p:cNvPr id="19" name="Рисунок 18" descr="ship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259632" y="5805264"/>
            <a:ext cx="2801112" cy="569976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555776" y="1988840"/>
            <a:ext cx="1296144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78884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0jBEHUo2aD8ZqIKSI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nPeLN4.apE_t1N5tuMe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младшие_подростки_правка_12.09.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младшие_подростки_правка_12.09.</Template>
  <TotalTime>606</TotalTime>
  <Words>305</Words>
  <Application>Microsoft Office PowerPoint</Application>
  <PresentationFormat>Экран (4:3)</PresentationFormat>
  <Paragraphs>59</Paragraphs>
  <Slides>23</Slides>
  <Notes>1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5" baseType="lpstr">
      <vt:lpstr>младшие_подростки_правка_12.09.</vt:lpstr>
      <vt:lpstr>Слайд think-cell</vt:lpstr>
      <vt:lpstr>ПРОГРАММА  РАЗВИТИЕ ЛИЧНОСТНОГО ПОТЕНЦИАЛА ПОДРОСТКОВ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Встреча с родителями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ГРАММА  «РАЗВИТИЕ ЛИЧНОСТНОГО ПОТЕНЦИАЛА ПОДРОСТКОВ»</dc:title>
  <dc:creator>Dubovaya.VV</dc:creator>
  <cp:lastModifiedBy>Алексей</cp:lastModifiedBy>
  <cp:revision>30</cp:revision>
  <dcterms:created xsi:type="dcterms:W3CDTF">2019-09-12T13:52:08Z</dcterms:created>
  <dcterms:modified xsi:type="dcterms:W3CDTF">2020-06-07T18:31:55Z</dcterms:modified>
</cp:coreProperties>
</file>